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9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8" d="100"/>
          <a:sy n="78" d="100"/>
        </p:scale>
        <p:origin x="159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004DC4F-565B-475B-8A5F-8299CD52AF9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900" noProof="1"/>
              <a:t>Beseitigt kostspielige Ausfallzeiten zum Schmieren und bewahrt die Anlageneffizienz</a:t>
            </a:r>
          </a:p>
        </p:txBody>
      </p:sp>
      <p:sp>
        <p:nvSpPr>
          <p:cNvPr id="89091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668" y="1400420"/>
            <a:ext cx="7997825" cy="277812"/>
          </a:xfrm>
        </p:spPr>
        <p:txBody>
          <a:bodyPr>
            <a:spAutoFit/>
          </a:bodyPr>
          <a:lstStyle/>
          <a:p>
            <a:r>
              <a:rPr lang="fr-FR" sz="1800" noProof="1"/>
              <a:t>Automatische Zentralschmieranlage</a:t>
            </a:r>
          </a:p>
        </p:txBody>
      </p:sp>
      <p:sp>
        <p:nvSpPr>
          <p:cNvPr id="89092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: Effizienz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: Aseptische Abfüllanlage (FMa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-Code: SP002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/>
        </p:nvGraphicFramePr>
        <p:xfrm>
          <a:off x="652463" y="1743075"/>
          <a:ext cx="7996237" cy="3989878"/>
        </p:xfrm>
        <a:graphic>
          <a:graphicData uri="http://schemas.openxmlformats.org/drawingml/2006/table">
            <a:tbl>
              <a:tblPr/>
              <a:tblGrid>
                <a:gridCol w="3875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6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NUTZEN UND VORTEILE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038">
                <a:tc>
                  <a:txBody>
                    <a:bodyPr/>
                    <a:lstStyle/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ringere Wartungszeiten: Durchschnittlich, </a:t>
                      </a:r>
                      <a:br>
                        <a:rPr kumimoji="0" 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0 Minuten je 1.500 Produktionsstunde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rhindert die Gefahr der Anhäufung von Schmierfett an beweglichen Teilen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r>
                        <a:rPr kumimoji="0" lang="fr-FR" altLang="de-DE" sz="1200" b="0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wahrt die Anlageneffizienz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254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a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utomatisch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chmiersyste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eseitig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Gefah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ungeschmiert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eweglich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Teil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a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und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ntsprich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omi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e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etriebsrichtlini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von Sidel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fü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est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raktiken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ies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nlag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ird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SP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gesteuer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i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rschieden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chmierstell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a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i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orbestimmt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ntervall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asierend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auf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Rotationszei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chmiert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Fall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in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tör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SP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kan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</a:t>
                      </a:r>
                      <a:b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uch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von Hand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geschmier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erden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91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5350" y="3573463"/>
            <a:ext cx="3328988" cy="1979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11">
            <a:extLst>
              <a:ext uri="{FF2B5EF4-FFF2-40B4-BE49-F238E27FC236}">
                <a16:creationId xmlns:a16="http://schemas.microsoft.com/office/drawing/2014/main" id="{ECE849CF-FBAE-4C9C-84D8-1504C9BF4B48}"/>
              </a:ext>
            </a:extLst>
          </p:cNvPr>
          <p:cNvSpPr/>
          <p:nvPr/>
        </p:nvSpPr>
        <p:spPr>
          <a:xfrm>
            <a:off x="4761070" y="1743074"/>
            <a:ext cx="3887630" cy="389781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78467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Beseitigt kostspielige Ausfallzeiten zum Schmieren und bewahrt die Anlageneffizienz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2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23:02.059776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